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76" r:id="rId13"/>
    <p:sldId id="273" r:id="rId14"/>
    <p:sldId id="274" r:id="rId15"/>
    <p:sldId id="277" r:id="rId16"/>
    <p:sldId id="278" r:id="rId17"/>
  </p:sldIdLst>
  <p:sldSz cx="7561263" cy="5329238"/>
  <p:notesSz cx="6797675" cy="9982200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71"/>
            <p14:sldId id="275"/>
            <p14:sldId id="276"/>
            <p14:sldId id="273"/>
            <p14:sldId id="274"/>
            <p14:sldId id="277"/>
            <p14:sldId id="27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6" d="100"/>
          <a:sy n="176" d="100"/>
        </p:scale>
        <p:origin x="-180" y="18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88" y="-67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.85699999999999998</c:v>
                </c:pt>
                <c:pt idx="1">
                  <c:v>1.286</c:v>
                </c:pt>
                <c:pt idx="2">
                  <c:v>5.5709999999999997</c:v>
                </c:pt>
                <c:pt idx="3">
                  <c:v>0.56140000000000001</c:v>
                </c:pt>
                <c:pt idx="4">
                  <c:v>0.2857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83A8F5-022A-4E5D-8F5C-39859BDF096D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EA27B156-E528-4B09-B9EC-22F635835718}">
      <dgm:prSet/>
      <dgm:spPr>
        <a:effectLst>
          <a:reflection stA="45000" endPos="1000" dist="50800" dir="5400000" sy="-100000" algn="bl" rotWithShape="0"/>
        </a:effectLst>
      </dgm:spPr>
      <dgm:t>
        <a:bodyPr/>
        <a:lstStyle/>
        <a:p>
          <a:pPr rtl="0"/>
          <a:r>
            <a:rPr lang="de-DE" dirty="0" smtClean="0"/>
            <a:t>Serversprache</a:t>
          </a:r>
          <a:endParaRPr lang="de-DE" dirty="0"/>
        </a:p>
      </dgm:t>
    </dgm:pt>
    <dgm:pt modelId="{44401E6B-DD01-4838-8E32-5666E25ECE58}" type="parTrans" cxnId="{CC666236-2FF7-4F78-AD6C-6F6D7E12FC5F}">
      <dgm:prSet/>
      <dgm:spPr/>
      <dgm:t>
        <a:bodyPr/>
        <a:lstStyle/>
        <a:p>
          <a:endParaRPr lang="de-DE"/>
        </a:p>
      </dgm:t>
    </dgm:pt>
    <dgm:pt modelId="{CE2B9292-5781-4FBD-971A-E1EC0F3B13B2}" type="sibTrans" cxnId="{CC666236-2FF7-4F78-AD6C-6F6D7E12FC5F}">
      <dgm:prSet/>
      <dgm:spPr/>
      <dgm:t>
        <a:bodyPr/>
        <a:lstStyle/>
        <a:p>
          <a:endParaRPr lang="de-DE"/>
        </a:p>
      </dgm:t>
    </dgm:pt>
    <dgm:pt modelId="{8808F21D-7721-47EF-AF01-23F98B39A999}">
      <dgm:prSet/>
      <dgm:spPr>
        <a:effectLst>
          <a:reflection stA="45000" endPos="1000" dist="50800" dir="5400000" sy="-100000" algn="bl" rotWithShape="0"/>
        </a:effectLst>
      </dgm:spPr>
      <dgm:t>
        <a:bodyPr/>
        <a:lstStyle/>
        <a:p>
          <a:pPr rtl="0"/>
          <a:r>
            <a:rPr lang="de-DE" dirty="0" smtClean="0"/>
            <a:t>C#</a:t>
          </a:r>
          <a:endParaRPr lang="de-DE" dirty="0"/>
        </a:p>
      </dgm:t>
    </dgm:pt>
    <dgm:pt modelId="{76EA8243-9304-4274-AFBB-1E5C2AB94722}" type="parTrans" cxnId="{6AC532F2-697F-4F19-B0FE-3118B2385C57}">
      <dgm:prSet/>
      <dgm:spPr/>
      <dgm:t>
        <a:bodyPr/>
        <a:lstStyle/>
        <a:p>
          <a:endParaRPr lang="de-DE"/>
        </a:p>
      </dgm:t>
    </dgm:pt>
    <dgm:pt modelId="{90C37CBF-5D71-4A91-858E-EAF8EBA6302D}" type="sibTrans" cxnId="{6AC532F2-697F-4F19-B0FE-3118B2385C57}">
      <dgm:prSet/>
      <dgm:spPr/>
      <dgm:t>
        <a:bodyPr/>
        <a:lstStyle/>
        <a:p>
          <a:endParaRPr lang="de-DE"/>
        </a:p>
      </dgm:t>
    </dgm:pt>
    <dgm:pt modelId="{74526D66-827E-412C-8995-E35A7AF7D28C}">
      <dgm:prSet/>
      <dgm:spPr/>
      <dgm:t>
        <a:bodyPr/>
        <a:lstStyle/>
        <a:p>
          <a:pPr rtl="0"/>
          <a:r>
            <a:rPr lang="de-DE" b="0" dirty="0" smtClean="0"/>
            <a:t>HTML</a:t>
          </a:r>
          <a:endParaRPr lang="de-DE" dirty="0"/>
        </a:p>
      </dgm:t>
    </dgm:pt>
    <dgm:pt modelId="{25A66D5F-0CAD-4DF3-8B47-E408BA1FE576}" type="parTrans" cxnId="{92C991CF-7651-44FB-A166-B69A35A3DFD3}">
      <dgm:prSet/>
      <dgm:spPr/>
      <dgm:t>
        <a:bodyPr/>
        <a:lstStyle/>
        <a:p>
          <a:endParaRPr lang="de-DE"/>
        </a:p>
      </dgm:t>
    </dgm:pt>
    <dgm:pt modelId="{763F8B80-9A7E-4D9B-8305-2668E6A534AD}" type="sibTrans" cxnId="{92C991CF-7651-44FB-A166-B69A35A3DFD3}">
      <dgm:prSet/>
      <dgm:spPr/>
      <dgm:t>
        <a:bodyPr/>
        <a:lstStyle/>
        <a:p>
          <a:endParaRPr lang="de-DE"/>
        </a:p>
      </dgm:t>
    </dgm:pt>
    <dgm:pt modelId="{9BCFC459-0FD1-4592-B58F-26B30C163AE5}">
      <dgm:prSet/>
      <dgm:spPr/>
      <dgm:t>
        <a:bodyPr/>
        <a:lstStyle/>
        <a:p>
          <a:pPr rtl="0"/>
          <a:r>
            <a:rPr lang="de-DE" b="0" dirty="0" smtClean="0"/>
            <a:t>CSS</a:t>
          </a:r>
          <a:endParaRPr lang="de-DE" dirty="0"/>
        </a:p>
      </dgm:t>
    </dgm:pt>
    <dgm:pt modelId="{B832FC32-BA40-43F0-9F62-B28198DDEFA7}" type="parTrans" cxnId="{09760ECB-A2A4-4BC5-8250-5EE31D3476AC}">
      <dgm:prSet/>
      <dgm:spPr/>
      <dgm:t>
        <a:bodyPr/>
        <a:lstStyle/>
        <a:p>
          <a:endParaRPr lang="de-DE"/>
        </a:p>
      </dgm:t>
    </dgm:pt>
    <dgm:pt modelId="{5A1F6D52-7F59-4792-97A8-C306BF3B9497}" type="sibTrans" cxnId="{09760ECB-A2A4-4BC5-8250-5EE31D3476AC}">
      <dgm:prSet/>
      <dgm:spPr/>
      <dgm:t>
        <a:bodyPr/>
        <a:lstStyle/>
        <a:p>
          <a:endParaRPr lang="de-DE"/>
        </a:p>
      </dgm:t>
    </dgm:pt>
    <dgm:pt modelId="{AF9936E2-44BA-45F8-B1CC-246534666FD2}">
      <dgm:prSet/>
      <dgm:spPr/>
      <dgm:t>
        <a:bodyPr/>
        <a:lstStyle/>
        <a:p>
          <a:pPr rtl="0"/>
          <a:r>
            <a:rPr lang="de-DE" b="0" dirty="0" smtClean="0"/>
            <a:t>JavaScript</a:t>
          </a:r>
        </a:p>
      </dgm:t>
    </dgm:pt>
    <dgm:pt modelId="{BCAB16C5-5837-491F-B634-E5B8CEFDC0A8}" type="parTrans" cxnId="{55BEA71D-7EC8-426D-B88F-DB9347DB8BD8}">
      <dgm:prSet/>
      <dgm:spPr/>
      <dgm:t>
        <a:bodyPr/>
        <a:lstStyle/>
        <a:p>
          <a:endParaRPr lang="de-DE"/>
        </a:p>
      </dgm:t>
    </dgm:pt>
    <dgm:pt modelId="{9C0F8B32-2EC6-45A6-9DB9-F4EEE249383E}" type="sibTrans" cxnId="{55BEA71D-7EC8-426D-B88F-DB9347DB8BD8}">
      <dgm:prSet/>
      <dgm:spPr/>
      <dgm:t>
        <a:bodyPr/>
        <a:lstStyle/>
        <a:p>
          <a:endParaRPr lang="de-DE"/>
        </a:p>
      </dgm:t>
    </dgm:pt>
    <dgm:pt modelId="{E34373BF-09F2-445B-90F6-47031347B19F}">
      <dgm:prSet/>
      <dgm:spPr/>
      <dgm:t>
        <a:bodyPr/>
        <a:lstStyle/>
        <a:p>
          <a:pPr rtl="0"/>
          <a:r>
            <a:rPr lang="de-DE" dirty="0" smtClean="0"/>
            <a:t>Client</a:t>
          </a:r>
          <a:endParaRPr lang="de-DE" dirty="0"/>
        </a:p>
      </dgm:t>
    </dgm:pt>
    <dgm:pt modelId="{B17E3FD5-1B3D-4E5B-B8EE-7B398951A55C}" type="parTrans" cxnId="{DF5EC36F-EF5B-456B-8CEA-434C9D35513C}">
      <dgm:prSet/>
      <dgm:spPr/>
      <dgm:t>
        <a:bodyPr/>
        <a:lstStyle/>
        <a:p>
          <a:endParaRPr lang="de-DE"/>
        </a:p>
      </dgm:t>
    </dgm:pt>
    <dgm:pt modelId="{4012B121-7670-4002-A9FD-CC657BF333DF}" type="sibTrans" cxnId="{DF5EC36F-EF5B-456B-8CEA-434C9D35513C}">
      <dgm:prSet/>
      <dgm:spPr/>
      <dgm:t>
        <a:bodyPr/>
        <a:lstStyle/>
        <a:p>
          <a:endParaRPr lang="de-DE"/>
        </a:p>
      </dgm:t>
    </dgm:pt>
    <dgm:pt modelId="{18BDC060-C08B-42CA-A2F0-C9AF10E407A3}">
      <dgm:prSet/>
      <dgm:spPr/>
      <dgm:t>
        <a:bodyPr/>
        <a:lstStyle/>
        <a:p>
          <a:pPr rtl="0"/>
          <a:r>
            <a:rPr lang="de-DE" dirty="0" smtClean="0"/>
            <a:t>ASP .NET MVC</a:t>
          </a:r>
          <a:endParaRPr lang="de-DE" dirty="0"/>
        </a:p>
      </dgm:t>
    </dgm:pt>
    <dgm:pt modelId="{1DB3584D-F679-4DD5-81EA-5FDB6ACD2B14}" type="parTrans" cxnId="{2E4F3750-B229-428A-B7D0-5A45268BBD96}">
      <dgm:prSet/>
      <dgm:spPr/>
      <dgm:t>
        <a:bodyPr/>
        <a:lstStyle/>
        <a:p>
          <a:endParaRPr lang="de-DE"/>
        </a:p>
      </dgm:t>
    </dgm:pt>
    <dgm:pt modelId="{6B17E484-B00A-4A8E-9EB7-F777A75B9D18}" type="sibTrans" cxnId="{2E4F3750-B229-428A-B7D0-5A45268BBD96}">
      <dgm:prSet/>
      <dgm:spPr/>
      <dgm:t>
        <a:bodyPr/>
        <a:lstStyle/>
        <a:p>
          <a:endParaRPr lang="de-DE"/>
        </a:p>
      </dgm:t>
    </dgm:pt>
    <dgm:pt modelId="{6E5BE6E3-48EA-4841-8DDE-29CDAC8F5D3A}">
      <dgm:prSet/>
      <dgm:spPr/>
      <dgm:t>
        <a:bodyPr/>
        <a:lstStyle/>
        <a:p>
          <a:r>
            <a:rPr lang="de-DE" b="0" dirty="0" err="1" smtClean="0"/>
            <a:t>JQuery</a:t>
          </a:r>
          <a:endParaRPr lang="de-DE" dirty="0"/>
        </a:p>
      </dgm:t>
    </dgm:pt>
    <dgm:pt modelId="{AD36171C-EA10-41B1-AD3D-51B757E0C19E}" type="parTrans" cxnId="{19B14700-C41A-4DE0-97A9-D6999D6F0DE6}">
      <dgm:prSet/>
      <dgm:spPr/>
      <dgm:t>
        <a:bodyPr/>
        <a:lstStyle/>
        <a:p>
          <a:endParaRPr lang="de-DE"/>
        </a:p>
      </dgm:t>
    </dgm:pt>
    <dgm:pt modelId="{4E2AC284-CECF-47A0-B541-3B335CF3FF4A}" type="sibTrans" cxnId="{19B14700-C41A-4DE0-97A9-D6999D6F0DE6}">
      <dgm:prSet/>
      <dgm:spPr/>
      <dgm:t>
        <a:bodyPr/>
        <a:lstStyle/>
        <a:p>
          <a:endParaRPr lang="de-DE"/>
        </a:p>
      </dgm:t>
    </dgm:pt>
    <dgm:pt modelId="{E90ABED0-7A94-4123-B2C6-996578B7331D}">
      <dgm:prSet/>
      <dgm:spPr/>
      <dgm:t>
        <a:bodyPr/>
        <a:lstStyle/>
        <a:p>
          <a:r>
            <a:rPr lang="de-DE" dirty="0" smtClean="0"/>
            <a:t>Frameworks/Bibliotheken</a:t>
          </a:r>
          <a:endParaRPr lang="de-DE" dirty="0"/>
        </a:p>
      </dgm:t>
    </dgm:pt>
    <dgm:pt modelId="{6EC30ED3-6B46-46F5-874D-CFE4D63468B6}" type="parTrans" cxnId="{6926C300-965E-48A5-BCF5-CA959780BDFB}">
      <dgm:prSet/>
      <dgm:spPr/>
      <dgm:t>
        <a:bodyPr/>
        <a:lstStyle/>
        <a:p>
          <a:endParaRPr lang="de-DE"/>
        </a:p>
      </dgm:t>
    </dgm:pt>
    <dgm:pt modelId="{D1206DD6-F55A-4314-80EF-C2ADE02524B8}" type="sibTrans" cxnId="{6926C300-965E-48A5-BCF5-CA959780BDFB}">
      <dgm:prSet/>
      <dgm:spPr/>
      <dgm:t>
        <a:bodyPr/>
        <a:lstStyle/>
        <a:p>
          <a:endParaRPr lang="de-DE"/>
        </a:p>
      </dgm:t>
    </dgm:pt>
    <dgm:pt modelId="{8171A046-A3A2-4BFB-B3CF-B7BEA0F2DF30}">
      <dgm:prSet/>
      <dgm:spPr/>
      <dgm:t>
        <a:bodyPr/>
        <a:lstStyle/>
        <a:p>
          <a:pPr rtl="0"/>
          <a:r>
            <a:rPr lang="de-DE" dirty="0" smtClean="0"/>
            <a:t>SignalR</a:t>
          </a:r>
          <a:endParaRPr lang="de-DE" dirty="0"/>
        </a:p>
      </dgm:t>
    </dgm:pt>
    <dgm:pt modelId="{F0C8FDF8-CAF2-44D4-9ECA-07E048DF80A5}" type="parTrans" cxnId="{52BB5CAD-EAC4-415A-B9CA-5AEB96FD2562}">
      <dgm:prSet/>
      <dgm:spPr/>
      <dgm:t>
        <a:bodyPr/>
        <a:lstStyle/>
        <a:p>
          <a:endParaRPr lang="de-DE"/>
        </a:p>
      </dgm:t>
    </dgm:pt>
    <dgm:pt modelId="{110F5F71-EFE3-40C2-8E9A-D05D5D29040F}" type="sibTrans" cxnId="{52BB5CAD-EAC4-415A-B9CA-5AEB96FD2562}">
      <dgm:prSet/>
      <dgm:spPr/>
      <dgm:t>
        <a:bodyPr/>
        <a:lstStyle/>
        <a:p>
          <a:endParaRPr lang="de-DE"/>
        </a:p>
      </dgm:t>
    </dgm:pt>
    <dgm:pt modelId="{7D5B93BB-7619-4395-8FA0-478A309EE86C}">
      <dgm:prSet/>
      <dgm:spPr/>
      <dgm:t>
        <a:bodyPr/>
        <a:lstStyle/>
        <a:p>
          <a:pPr rtl="0"/>
          <a:r>
            <a:rPr lang="de-DE" dirty="0" err="1" smtClean="0"/>
            <a:t>Entity</a:t>
          </a:r>
          <a:r>
            <a:rPr lang="de-DE" dirty="0" smtClean="0"/>
            <a:t> Framework</a:t>
          </a:r>
        </a:p>
      </dgm:t>
    </dgm:pt>
    <dgm:pt modelId="{16CD8F3C-5EBC-4624-941E-4E73F0C0BDE7}" type="parTrans" cxnId="{C6B6BF7A-92D9-4A75-A430-1B49EA38B7CD}">
      <dgm:prSet/>
      <dgm:spPr/>
      <dgm:t>
        <a:bodyPr/>
        <a:lstStyle/>
        <a:p>
          <a:endParaRPr lang="de-DE"/>
        </a:p>
      </dgm:t>
    </dgm:pt>
    <dgm:pt modelId="{F3C36569-CE00-495A-A612-D14EC6CFBD24}" type="sibTrans" cxnId="{C6B6BF7A-92D9-4A75-A430-1B49EA38B7CD}">
      <dgm:prSet/>
      <dgm:spPr/>
      <dgm:t>
        <a:bodyPr/>
        <a:lstStyle/>
        <a:p>
          <a:endParaRPr lang="de-DE"/>
        </a:p>
      </dgm:t>
    </dgm:pt>
    <dgm:pt modelId="{4AE18B56-44B5-44D0-A8ED-AA9A68102136}">
      <dgm:prSet/>
      <dgm:spPr/>
      <dgm:t>
        <a:bodyPr/>
        <a:lstStyle/>
        <a:p>
          <a:r>
            <a:rPr lang="de-DE" dirty="0" smtClean="0"/>
            <a:t>Frameworks/Bibliotheken</a:t>
          </a:r>
          <a:endParaRPr lang="de-DE" dirty="0"/>
        </a:p>
      </dgm:t>
    </dgm:pt>
    <dgm:pt modelId="{99379F97-E8D0-42F3-A19B-91CE725D676C}" type="parTrans" cxnId="{D64B9DF3-D970-4B11-ADBC-F4543A4C6CC0}">
      <dgm:prSet/>
      <dgm:spPr/>
      <dgm:t>
        <a:bodyPr/>
        <a:lstStyle/>
        <a:p>
          <a:endParaRPr lang="de-DE"/>
        </a:p>
      </dgm:t>
    </dgm:pt>
    <dgm:pt modelId="{DF57BCC3-6980-4925-9882-4302F12A7587}" type="sibTrans" cxnId="{D64B9DF3-D970-4B11-ADBC-F4543A4C6CC0}">
      <dgm:prSet/>
      <dgm:spPr/>
      <dgm:t>
        <a:bodyPr/>
        <a:lstStyle/>
        <a:p>
          <a:endParaRPr lang="de-DE"/>
        </a:p>
      </dgm:t>
    </dgm:pt>
    <dgm:pt modelId="{EABA1B2C-AD50-47F3-8E5F-66A5B18793F7}">
      <dgm:prSet/>
      <dgm:spPr/>
      <dgm:t>
        <a:bodyPr/>
        <a:lstStyle/>
        <a:p>
          <a:r>
            <a:rPr lang="de-DE" b="0" smtClean="0"/>
            <a:t>KendoUI</a:t>
          </a:r>
          <a:endParaRPr lang="de-DE" dirty="0"/>
        </a:p>
      </dgm:t>
    </dgm:pt>
    <dgm:pt modelId="{A2565004-C316-4128-964E-2E58CC9053C4}" type="parTrans" cxnId="{54B4638C-540F-4FC7-AA3F-3CF14759DDAA}">
      <dgm:prSet/>
      <dgm:spPr/>
      <dgm:t>
        <a:bodyPr/>
        <a:lstStyle/>
        <a:p>
          <a:endParaRPr lang="de-DE"/>
        </a:p>
      </dgm:t>
    </dgm:pt>
    <dgm:pt modelId="{336A1792-8A42-4377-9A2C-165F473D9E74}" type="sibTrans" cxnId="{54B4638C-540F-4FC7-AA3F-3CF14759DDAA}">
      <dgm:prSet/>
      <dgm:spPr/>
      <dgm:t>
        <a:bodyPr/>
        <a:lstStyle/>
        <a:p>
          <a:endParaRPr lang="de-DE"/>
        </a:p>
      </dgm:t>
    </dgm:pt>
    <dgm:pt modelId="{CBD3A044-C4E2-41C8-AF7E-0EFE5ECBFF1E}" type="pres">
      <dgm:prSet presAssocID="{C683A8F5-022A-4E5D-8F5C-39859BDF096D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72190DED-6851-4A31-A999-D7F579123D32}" type="pres">
      <dgm:prSet presAssocID="{C683A8F5-022A-4E5D-8F5C-39859BDF096D}" presName="diamond" presStyleLbl="bgShp" presStyleIdx="0" presStyleCnt="1"/>
      <dgm:spPr/>
    </dgm:pt>
    <dgm:pt modelId="{7F10CADF-56ED-4709-935A-F3CF3574FB11}" type="pres">
      <dgm:prSet presAssocID="{C683A8F5-022A-4E5D-8F5C-39859BDF096D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DB5A918-E72C-48C8-AD32-61D1928001F6}" type="pres">
      <dgm:prSet presAssocID="{C683A8F5-022A-4E5D-8F5C-39859BDF096D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5757323-9BD2-40DD-805A-1A6D5785594D}" type="pres">
      <dgm:prSet presAssocID="{C683A8F5-022A-4E5D-8F5C-39859BDF096D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6090CEE-32E3-464B-AC5C-9EFBAFAFD4A5}" type="pres">
      <dgm:prSet presAssocID="{C683A8F5-022A-4E5D-8F5C-39859BDF096D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6B6BF7A-92D9-4A75-A430-1B49EA38B7CD}" srcId="{E90ABED0-7A94-4123-B2C6-996578B7331D}" destId="{7D5B93BB-7619-4395-8FA0-478A309EE86C}" srcOrd="2" destOrd="0" parTransId="{16CD8F3C-5EBC-4624-941E-4E73F0C0BDE7}" sibTransId="{F3C36569-CE00-495A-A612-D14EC6CFBD24}"/>
    <dgm:cxn modelId="{2E4F3750-B229-428A-B7D0-5A45268BBD96}" srcId="{E90ABED0-7A94-4123-B2C6-996578B7331D}" destId="{18BDC060-C08B-42CA-A2F0-C9AF10E407A3}" srcOrd="0" destOrd="0" parTransId="{1DB3584D-F679-4DD5-81EA-5FDB6ACD2B14}" sibTransId="{6B17E484-B00A-4A8E-9EB7-F777A75B9D18}"/>
    <dgm:cxn modelId="{5FFB52E3-59BE-4ECC-B24C-0F8620D773B2}" type="presOf" srcId="{74526D66-827E-412C-8995-E35A7AF7D28C}" destId="{ADB5A918-E72C-48C8-AD32-61D1928001F6}" srcOrd="0" destOrd="1" presId="urn:microsoft.com/office/officeart/2005/8/layout/matrix3"/>
    <dgm:cxn modelId="{CC666236-2FF7-4F78-AD6C-6F6D7E12FC5F}" srcId="{C683A8F5-022A-4E5D-8F5C-39859BDF096D}" destId="{EA27B156-E528-4B09-B9EC-22F635835718}" srcOrd="0" destOrd="0" parTransId="{44401E6B-DD01-4838-8E32-5666E25ECE58}" sibTransId="{CE2B9292-5781-4FBD-971A-E1EC0F3B13B2}"/>
    <dgm:cxn modelId="{ACC0E7DC-ADAC-4EEB-9602-5C04875A5166}" type="presOf" srcId="{9BCFC459-0FD1-4592-B58F-26B30C163AE5}" destId="{ADB5A918-E72C-48C8-AD32-61D1928001F6}" srcOrd="0" destOrd="2" presId="urn:microsoft.com/office/officeart/2005/8/layout/matrix3"/>
    <dgm:cxn modelId="{5D04418B-9FC7-4F1D-B274-7083663A8FA6}" type="presOf" srcId="{8171A046-A3A2-4BFB-B3CF-B7BEA0F2DF30}" destId="{95757323-9BD2-40DD-805A-1A6D5785594D}" srcOrd="0" destOrd="2" presId="urn:microsoft.com/office/officeart/2005/8/layout/matrix3"/>
    <dgm:cxn modelId="{59F81C2E-A84D-4560-AD36-EED93D854929}" type="presOf" srcId="{4AE18B56-44B5-44D0-A8ED-AA9A68102136}" destId="{56090CEE-32E3-464B-AC5C-9EFBAFAFD4A5}" srcOrd="0" destOrd="0" presId="urn:microsoft.com/office/officeart/2005/8/layout/matrix3"/>
    <dgm:cxn modelId="{3AC8B1F6-8776-4AD6-978C-67CBAC6B5F4A}" type="presOf" srcId="{C683A8F5-022A-4E5D-8F5C-39859BDF096D}" destId="{CBD3A044-C4E2-41C8-AF7E-0EFE5ECBFF1E}" srcOrd="0" destOrd="0" presId="urn:microsoft.com/office/officeart/2005/8/layout/matrix3"/>
    <dgm:cxn modelId="{0D6A09E3-8A3A-4151-918E-E31992F3D9B7}" type="presOf" srcId="{8808F21D-7721-47EF-AF01-23F98B39A999}" destId="{7F10CADF-56ED-4709-935A-F3CF3574FB11}" srcOrd="0" destOrd="1" presId="urn:microsoft.com/office/officeart/2005/8/layout/matrix3"/>
    <dgm:cxn modelId="{09760ECB-A2A4-4BC5-8250-5EE31D3476AC}" srcId="{E34373BF-09F2-445B-90F6-47031347B19F}" destId="{9BCFC459-0FD1-4592-B58F-26B30C163AE5}" srcOrd="1" destOrd="0" parTransId="{B832FC32-BA40-43F0-9F62-B28198DDEFA7}" sibTransId="{5A1F6D52-7F59-4792-97A8-C306BF3B9497}"/>
    <dgm:cxn modelId="{93B92941-593D-48B5-BE6E-FD2DCF5906E7}" type="presOf" srcId="{7D5B93BB-7619-4395-8FA0-478A309EE86C}" destId="{95757323-9BD2-40DD-805A-1A6D5785594D}" srcOrd="0" destOrd="3" presId="urn:microsoft.com/office/officeart/2005/8/layout/matrix3"/>
    <dgm:cxn modelId="{D64B9DF3-D970-4B11-ADBC-F4543A4C6CC0}" srcId="{C683A8F5-022A-4E5D-8F5C-39859BDF096D}" destId="{4AE18B56-44B5-44D0-A8ED-AA9A68102136}" srcOrd="3" destOrd="0" parTransId="{99379F97-E8D0-42F3-A19B-91CE725D676C}" sibTransId="{DF57BCC3-6980-4925-9882-4302F12A7587}"/>
    <dgm:cxn modelId="{19B14700-C41A-4DE0-97A9-D6999D6F0DE6}" srcId="{4AE18B56-44B5-44D0-A8ED-AA9A68102136}" destId="{6E5BE6E3-48EA-4841-8DDE-29CDAC8F5D3A}" srcOrd="0" destOrd="0" parTransId="{AD36171C-EA10-41B1-AD3D-51B757E0C19E}" sibTransId="{4E2AC284-CECF-47A0-B541-3B335CF3FF4A}"/>
    <dgm:cxn modelId="{92C991CF-7651-44FB-A166-B69A35A3DFD3}" srcId="{E34373BF-09F2-445B-90F6-47031347B19F}" destId="{74526D66-827E-412C-8995-E35A7AF7D28C}" srcOrd="0" destOrd="0" parTransId="{25A66D5F-0CAD-4DF3-8B47-E408BA1FE576}" sibTransId="{763F8B80-9A7E-4D9B-8305-2668E6A534AD}"/>
    <dgm:cxn modelId="{AF06151B-4EA6-4146-8CCF-1F0F645866F5}" type="presOf" srcId="{AF9936E2-44BA-45F8-B1CC-246534666FD2}" destId="{ADB5A918-E72C-48C8-AD32-61D1928001F6}" srcOrd="0" destOrd="3" presId="urn:microsoft.com/office/officeart/2005/8/layout/matrix3"/>
    <dgm:cxn modelId="{962FD7B8-4310-44C5-9AD5-6F68738EF6E8}" type="presOf" srcId="{EABA1B2C-AD50-47F3-8E5F-66A5B18793F7}" destId="{56090CEE-32E3-464B-AC5C-9EFBAFAFD4A5}" srcOrd="0" destOrd="2" presId="urn:microsoft.com/office/officeart/2005/8/layout/matrix3"/>
    <dgm:cxn modelId="{14594CF6-631A-4610-82BD-FC9977AFFAFE}" type="presOf" srcId="{18BDC060-C08B-42CA-A2F0-C9AF10E407A3}" destId="{95757323-9BD2-40DD-805A-1A6D5785594D}" srcOrd="0" destOrd="1" presId="urn:microsoft.com/office/officeart/2005/8/layout/matrix3"/>
    <dgm:cxn modelId="{DF5EC36F-EF5B-456B-8CEA-434C9D35513C}" srcId="{C683A8F5-022A-4E5D-8F5C-39859BDF096D}" destId="{E34373BF-09F2-445B-90F6-47031347B19F}" srcOrd="1" destOrd="0" parTransId="{B17E3FD5-1B3D-4E5B-B8EE-7B398951A55C}" sibTransId="{4012B121-7670-4002-A9FD-CC657BF333DF}"/>
    <dgm:cxn modelId="{54B4638C-540F-4FC7-AA3F-3CF14759DDAA}" srcId="{4AE18B56-44B5-44D0-A8ED-AA9A68102136}" destId="{EABA1B2C-AD50-47F3-8E5F-66A5B18793F7}" srcOrd="1" destOrd="0" parTransId="{A2565004-C316-4128-964E-2E58CC9053C4}" sibTransId="{336A1792-8A42-4377-9A2C-165F473D9E74}"/>
    <dgm:cxn modelId="{55BEA71D-7EC8-426D-B88F-DB9347DB8BD8}" srcId="{E34373BF-09F2-445B-90F6-47031347B19F}" destId="{AF9936E2-44BA-45F8-B1CC-246534666FD2}" srcOrd="2" destOrd="0" parTransId="{BCAB16C5-5837-491F-B634-E5B8CEFDC0A8}" sibTransId="{9C0F8B32-2EC6-45A6-9DB9-F4EEE249383E}"/>
    <dgm:cxn modelId="{45D7CF36-CE51-4C12-9B42-7EB0F99933A3}" type="presOf" srcId="{EA27B156-E528-4B09-B9EC-22F635835718}" destId="{7F10CADF-56ED-4709-935A-F3CF3574FB11}" srcOrd="0" destOrd="0" presId="urn:microsoft.com/office/officeart/2005/8/layout/matrix3"/>
    <dgm:cxn modelId="{52BB5CAD-EAC4-415A-B9CA-5AEB96FD2562}" srcId="{E90ABED0-7A94-4123-B2C6-996578B7331D}" destId="{8171A046-A3A2-4BFB-B3CF-B7BEA0F2DF30}" srcOrd="1" destOrd="0" parTransId="{F0C8FDF8-CAF2-44D4-9ECA-07E048DF80A5}" sibTransId="{110F5F71-EFE3-40C2-8E9A-D05D5D29040F}"/>
    <dgm:cxn modelId="{6AC532F2-697F-4F19-B0FE-3118B2385C57}" srcId="{EA27B156-E528-4B09-B9EC-22F635835718}" destId="{8808F21D-7721-47EF-AF01-23F98B39A999}" srcOrd="0" destOrd="0" parTransId="{76EA8243-9304-4274-AFBB-1E5C2AB94722}" sibTransId="{90C37CBF-5D71-4A91-858E-EAF8EBA6302D}"/>
    <dgm:cxn modelId="{18232E0B-95E7-46BB-9504-117DFEA8B105}" type="presOf" srcId="{E34373BF-09F2-445B-90F6-47031347B19F}" destId="{ADB5A918-E72C-48C8-AD32-61D1928001F6}" srcOrd="0" destOrd="0" presId="urn:microsoft.com/office/officeart/2005/8/layout/matrix3"/>
    <dgm:cxn modelId="{5AC8BC79-F960-4D6C-9C81-6F953C8C6658}" type="presOf" srcId="{6E5BE6E3-48EA-4841-8DDE-29CDAC8F5D3A}" destId="{56090CEE-32E3-464B-AC5C-9EFBAFAFD4A5}" srcOrd="0" destOrd="1" presId="urn:microsoft.com/office/officeart/2005/8/layout/matrix3"/>
    <dgm:cxn modelId="{6926C300-965E-48A5-BCF5-CA959780BDFB}" srcId="{C683A8F5-022A-4E5D-8F5C-39859BDF096D}" destId="{E90ABED0-7A94-4123-B2C6-996578B7331D}" srcOrd="2" destOrd="0" parTransId="{6EC30ED3-6B46-46F5-874D-CFE4D63468B6}" sibTransId="{D1206DD6-F55A-4314-80EF-C2ADE02524B8}"/>
    <dgm:cxn modelId="{746BEB16-E107-4C69-871B-466CE11F4EAD}" type="presOf" srcId="{E90ABED0-7A94-4123-B2C6-996578B7331D}" destId="{95757323-9BD2-40DD-805A-1A6D5785594D}" srcOrd="0" destOrd="0" presId="urn:microsoft.com/office/officeart/2005/8/layout/matrix3"/>
    <dgm:cxn modelId="{6B3F0432-A376-4FA4-8C9E-0F04BAB327D3}" type="presParOf" srcId="{CBD3A044-C4E2-41C8-AF7E-0EFE5ECBFF1E}" destId="{72190DED-6851-4A31-A999-D7F579123D32}" srcOrd="0" destOrd="0" presId="urn:microsoft.com/office/officeart/2005/8/layout/matrix3"/>
    <dgm:cxn modelId="{97E58528-1A52-4E0E-87F3-0574A1170089}" type="presParOf" srcId="{CBD3A044-C4E2-41C8-AF7E-0EFE5ECBFF1E}" destId="{7F10CADF-56ED-4709-935A-F3CF3574FB11}" srcOrd="1" destOrd="0" presId="urn:microsoft.com/office/officeart/2005/8/layout/matrix3"/>
    <dgm:cxn modelId="{9BE7D492-CD92-4D7C-885E-21818D5BF27D}" type="presParOf" srcId="{CBD3A044-C4E2-41C8-AF7E-0EFE5ECBFF1E}" destId="{ADB5A918-E72C-48C8-AD32-61D1928001F6}" srcOrd="2" destOrd="0" presId="urn:microsoft.com/office/officeart/2005/8/layout/matrix3"/>
    <dgm:cxn modelId="{BBAE1C2C-ECA0-4167-BE31-A016575D097F}" type="presParOf" srcId="{CBD3A044-C4E2-41C8-AF7E-0EFE5ECBFF1E}" destId="{95757323-9BD2-40DD-805A-1A6D5785594D}" srcOrd="3" destOrd="0" presId="urn:microsoft.com/office/officeart/2005/8/layout/matrix3"/>
    <dgm:cxn modelId="{0D29F752-D488-47AD-A9B8-5CF33C3CF373}" type="presParOf" srcId="{CBD3A044-C4E2-41C8-AF7E-0EFE5ECBFF1E}" destId="{56090CEE-32E3-464B-AC5C-9EFBAFAFD4A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190DED-6851-4A31-A999-D7F579123D32}">
      <dsp:nvSpPr>
        <dsp:cNvPr id="0" name=""/>
        <dsp:cNvSpPr/>
      </dsp:nvSpPr>
      <dsp:spPr>
        <a:xfrm>
          <a:off x="756444" y="0"/>
          <a:ext cx="3887787" cy="388778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10CADF-56ED-4709-935A-F3CF3574FB11}">
      <dsp:nvSpPr>
        <dsp:cNvPr id="0" name=""/>
        <dsp:cNvSpPr/>
      </dsp:nvSpPr>
      <dsp:spPr>
        <a:xfrm>
          <a:off x="1125783" y="369339"/>
          <a:ext cx="1516236" cy="15162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reflection stA="45000" endPos="1000" dist="50800" dir="5400000" sy="-100000" algn="bl" rotWithShape="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Serversprache</a:t>
          </a:r>
          <a:endParaRPr lang="de-DE" sz="9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kern="1200" dirty="0" smtClean="0"/>
            <a:t>C#</a:t>
          </a:r>
          <a:endParaRPr lang="de-DE" sz="700" kern="1200" dirty="0"/>
        </a:p>
      </dsp:txBody>
      <dsp:txXfrm>
        <a:off x="1199800" y="443356"/>
        <a:ext cx="1368202" cy="1368202"/>
      </dsp:txXfrm>
    </dsp:sp>
    <dsp:sp modelId="{ADB5A918-E72C-48C8-AD32-61D1928001F6}">
      <dsp:nvSpPr>
        <dsp:cNvPr id="0" name=""/>
        <dsp:cNvSpPr/>
      </dsp:nvSpPr>
      <dsp:spPr>
        <a:xfrm>
          <a:off x="2758654" y="369339"/>
          <a:ext cx="1516236" cy="15162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Client</a:t>
          </a:r>
          <a:endParaRPr lang="de-DE" sz="9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b="0" kern="1200" dirty="0" smtClean="0"/>
            <a:t>HTML</a:t>
          </a:r>
          <a:endParaRPr lang="de-DE" sz="7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b="0" kern="1200" dirty="0" smtClean="0"/>
            <a:t>CSS</a:t>
          </a:r>
          <a:endParaRPr lang="de-DE" sz="7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b="0" kern="1200" dirty="0" smtClean="0"/>
            <a:t>JavaScript</a:t>
          </a:r>
        </a:p>
      </dsp:txBody>
      <dsp:txXfrm>
        <a:off x="2832671" y="443356"/>
        <a:ext cx="1368202" cy="1368202"/>
      </dsp:txXfrm>
    </dsp:sp>
    <dsp:sp modelId="{95757323-9BD2-40DD-805A-1A6D5785594D}">
      <dsp:nvSpPr>
        <dsp:cNvPr id="0" name=""/>
        <dsp:cNvSpPr/>
      </dsp:nvSpPr>
      <dsp:spPr>
        <a:xfrm>
          <a:off x="1125783" y="2002210"/>
          <a:ext cx="1516236" cy="15162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Frameworks/Bibliotheken</a:t>
          </a:r>
          <a:endParaRPr lang="de-DE" sz="9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kern="1200" dirty="0" smtClean="0"/>
            <a:t>ASP .NET MVC</a:t>
          </a:r>
          <a:endParaRPr lang="de-DE" sz="7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kern="1200" dirty="0" smtClean="0"/>
            <a:t>SignalR</a:t>
          </a:r>
          <a:endParaRPr lang="de-DE" sz="700" kern="1200" dirty="0"/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kern="1200" dirty="0" err="1" smtClean="0"/>
            <a:t>Entity</a:t>
          </a:r>
          <a:r>
            <a:rPr lang="de-DE" sz="700" kern="1200" dirty="0" smtClean="0"/>
            <a:t> Framework</a:t>
          </a:r>
        </a:p>
      </dsp:txBody>
      <dsp:txXfrm>
        <a:off x="1199800" y="2076227"/>
        <a:ext cx="1368202" cy="1368202"/>
      </dsp:txXfrm>
    </dsp:sp>
    <dsp:sp modelId="{56090CEE-32E3-464B-AC5C-9EFBAFAFD4A5}">
      <dsp:nvSpPr>
        <dsp:cNvPr id="0" name=""/>
        <dsp:cNvSpPr/>
      </dsp:nvSpPr>
      <dsp:spPr>
        <a:xfrm>
          <a:off x="2758654" y="2002210"/>
          <a:ext cx="1516236" cy="15162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Frameworks/Bibliotheken</a:t>
          </a:r>
          <a:endParaRPr lang="de-DE" sz="9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b="0" kern="1200" dirty="0" err="1" smtClean="0"/>
            <a:t>JQuery</a:t>
          </a:r>
          <a:endParaRPr lang="de-DE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700" b="0" kern="1200" smtClean="0"/>
            <a:t>KendoUI</a:t>
          </a:r>
          <a:endParaRPr lang="de-DE" sz="700" kern="1200" dirty="0"/>
        </a:p>
      </dsp:txBody>
      <dsp:txXfrm>
        <a:off x="2832671" y="2076227"/>
        <a:ext cx="1368202" cy="13682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8.05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8.05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18.05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2037" y="-3700"/>
            <a:ext cx="7587049" cy="5346785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5865230" y="5217338"/>
            <a:ext cx="1488438" cy="1119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5745773" y="90055"/>
            <a:ext cx="1726225" cy="727836"/>
          </a:xfrm>
          <a:ln>
            <a:solidFill>
              <a:schemeClr val="tx2"/>
            </a:solidFill>
          </a:ln>
        </p:spPr>
        <p:txBody>
          <a:bodyPr lIns="28998" tIns="28998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2037" y="-3700"/>
            <a:ext cx="7587049" cy="5346785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5865230" y="5217338"/>
            <a:ext cx="1488438" cy="1119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5745773" y="90055"/>
            <a:ext cx="1726225" cy="727836"/>
          </a:xfrm>
          <a:ln>
            <a:solidFill>
              <a:schemeClr val="tx2"/>
            </a:solidFill>
          </a:ln>
        </p:spPr>
        <p:txBody>
          <a:bodyPr lIns="28998" tIns="28998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5865230" y="5217338"/>
            <a:ext cx="1488438" cy="1119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5865229" y="5217338"/>
            <a:ext cx="1512000" cy="1119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655" tIns="36827" rIns="73655" bIns="36827"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230" y="149159"/>
            <a:ext cx="1515058" cy="571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7.bin"/><Relationship Id="rId10" Type="http://schemas.openxmlformats.org/officeDocument/2006/relationships/diagramColors" Target="../diagrams/colors1.xml"/><Relationship Id="rId4" Type="http://schemas.openxmlformats.org/officeDocument/2006/relationships/image" Target="../media/image3.png"/><Relationship Id="rId9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 / 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Fachbereich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0428131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969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al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pic>
        <p:nvPicPr>
          <p:cNvPr id="22531" name="Picture 3" descr="U:\Projektarbeit\Präsentation\img\SignalR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51" y="2448595"/>
            <a:ext cx="5238021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40271" y="864419"/>
            <a:ext cx="4968552" cy="1512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 HTTP </a:t>
            </a:r>
            <a:r>
              <a:rPr lang="de-DE" dirty="0" smtClean="0">
                <a:solidFill>
                  <a:schemeClr val="tx2"/>
                </a:solidFill>
              </a:rPr>
              <a:t>Overhead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mal Verbunden immer </a:t>
            </a:r>
            <a:r>
              <a:rPr lang="de-DE" dirty="0" smtClean="0">
                <a:solidFill>
                  <a:schemeClr val="tx2"/>
                </a:solidFill>
              </a:rPr>
              <a:t>Verbunden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enig </a:t>
            </a:r>
            <a:r>
              <a:rPr lang="de-DE" dirty="0" smtClean="0">
                <a:solidFill>
                  <a:schemeClr val="tx2"/>
                </a:solidFill>
              </a:rPr>
              <a:t>Netzauslast durch </a:t>
            </a:r>
            <a:r>
              <a:rPr lang="de-DE" dirty="0" smtClean="0">
                <a:solidFill>
                  <a:schemeClr val="tx2"/>
                </a:solidFill>
              </a:rPr>
              <a:t>Pushen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ubs senden Daten an alle </a:t>
            </a:r>
            <a:r>
              <a:rPr lang="de-DE" dirty="0" smtClean="0">
                <a:solidFill>
                  <a:schemeClr val="tx2"/>
                </a:solidFill>
              </a:rPr>
              <a:t>verbundenen Client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69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84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ivitäts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pic>
        <p:nvPicPr>
          <p:cNvPr id="11" name="Picture 2" descr="U:\Projektarbeit\Präsentation\img\AblaufFrontendPN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47" y="720403"/>
            <a:ext cx="5184576" cy="428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07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460" y="-22916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085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den des Modularen Chats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olgende Methode wird aufgerufen, sobald der Benutzer die Seite öffnet</a:t>
            </a:r>
          </a:p>
          <a:p>
            <a:r>
              <a:rPr lang="de-DE" dirty="0" err="1" smtClean="0"/>
              <a:t>public</a:t>
            </a:r>
            <a:r>
              <a:rPr lang="de-DE" dirty="0" smtClean="0"/>
              <a:t> </a:t>
            </a:r>
            <a:r>
              <a:rPr lang="de-DE" dirty="0" err="1" smtClean="0"/>
              <a:t>ActionResult</a:t>
            </a:r>
            <a:r>
              <a:rPr lang="de-DE" dirty="0" smtClean="0"/>
              <a:t> </a:t>
            </a:r>
            <a:r>
              <a:rPr lang="de-DE" dirty="0" err="1" smtClean="0"/>
              <a:t>GetChat</a:t>
            </a:r>
            <a:r>
              <a:rPr lang="de-DE" dirty="0" smtClean="0"/>
              <a:t>(</a:t>
            </a:r>
            <a:r>
              <a:rPr lang="de-DE" dirty="0" err="1" smtClean="0"/>
              <a:t>bool</a:t>
            </a:r>
            <a:r>
              <a:rPr lang="de-DE" dirty="0" smtClean="0"/>
              <a:t> partial, </a:t>
            </a:r>
            <a:r>
              <a:rPr lang="de-DE" dirty="0" err="1" smtClean="0"/>
              <a:t>int</a:t>
            </a:r>
            <a:r>
              <a:rPr lang="de-DE" dirty="0" smtClean="0"/>
              <a:t> </a:t>
            </a:r>
            <a:r>
              <a:rPr lang="de-DE" dirty="0" err="1" smtClean="0"/>
              <a:t>currentUserId</a:t>
            </a:r>
            <a:r>
              <a:rPr lang="de-DE" dirty="0" smtClean="0"/>
              <a:t>)         </a:t>
            </a:r>
          </a:p>
          <a:p>
            <a:r>
              <a:rPr lang="de-DE" dirty="0" smtClean="0"/>
              <a:t>{             </a:t>
            </a:r>
          </a:p>
          <a:p>
            <a:r>
              <a:rPr lang="de-DE" dirty="0" smtClean="0"/>
              <a:t>	</a:t>
            </a:r>
            <a:r>
              <a:rPr lang="de-DE" dirty="0" err="1" smtClean="0"/>
              <a:t>var</a:t>
            </a:r>
            <a:r>
              <a:rPr lang="de-DE" dirty="0" smtClean="0"/>
              <a:t> </a:t>
            </a:r>
            <a:r>
              <a:rPr lang="de-DE" dirty="0" err="1" smtClean="0"/>
              <a:t>request</a:t>
            </a:r>
            <a:r>
              <a:rPr lang="de-DE" dirty="0" smtClean="0"/>
              <a:t> = Request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Partial</a:t>
            </a:r>
            <a:r>
              <a:rPr lang="de-DE" dirty="0" smtClean="0"/>
              <a:t> = partial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CurrentUserId</a:t>
            </a:r>
            <a:r>
              <a:rPr lang="de-DE" dirty="0" smtClean="0"/>
              <a:t> = </a:t>
            </a:r>
            <a:r>
              <a:rPr lang="de-DE" dirty="0" err="1" smtClean="0"/>
              <a:t>currentUserId</a:t>
            </a:r>
            <a:r>
              <a:rPr lang="de-DE" dirty="0" smtClean="0"/>
              <a:t>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if</a:t>
            </a:r>
            <a:r>
              <a:rPr lang="de-DE" dirty="0" smtClean="0"/>
              <a:t> (partial == </a:t>
            </a:r>
            <a:r>
              <a:rPr lang="de-DE" dirty="0" err="1" smtClean="0"/>
              <a:t>true</a:t>
            </a:r>
            <a:r>
              <a:rPr lang="de-DE" dirty="0" smtClean="0"/>
              <a:t>)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{     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return</a:t>
            </a:r>
            <a:r>
              <a:rPr lang="de-DE" dirty="0" smtClean="0"/>
              <a:t> </a:t>
            </a:r>
            <a:r>
              <a:rPr lang="de-DE" dirty="0" err="1" smtClean="0"/>
              <a:t>PartialView</a:t>
            </a:r>
            <a:r>
              <a:rPr lang="de-DE" dirty="0" smtClean="0"/>
              <a:t>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}</a:t>
            </a:r>
          </a:p>
          <a:p>
            <a:r>
              <a:rPr lang="de-DE" dirty="0" smtClean="0"/>
              <a:t>             </a:t>
            </a:r>
            <a:r>
              <a:rPr lang="de-DE" dirty="0" err="1" smtClean="0"/>
              <a:t>else</a:t>
            </a:r>
            <a:endParaRPr lang="de-DE" dirty="0" smtClean="0"/>
          </a:p>
          <a:p>
            <a:r>
              <a:rPr lang="de-DE" dirty="0" smtClean="0"/>
              <a:t>             { </a:t>
            </a:r>
          </a:p>
          <a:p>
            <a:r>
              <a:rPr lang="de-DE" dirty="0" smtClean="0"/>
              <a:t>                </a:t>
            </a:r>
            <a:r>
              <a:rPr lang="de-DE" dirty="0" err="1" smtClean="0"/>
              <a:t>return</a:t>
            </a:r>
            <a:r>
              <a:rPr lang="de-DE" dirty="0" smtClean="0"/>
              <a:t> View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</a:t>
            </a:r>
          </a:p>
          <a:p>
            <a:r>
              <a:rPr lang="de-DE" dirty="0" smtClean="0"/>
              <a:t>             } </a:t>
            </a:r>
          </a:p>
          <a:p>
            <a:r>
              <a:rPr lang="de-DE" dirty="0" smtClean="0"/>
              <a:t>} </a:t>
            </a: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Pfeil nach unten 6"/>
          <p:cNvSpPr/>
          <p:nvPr/>
        </p:nvSpPr>
        <p:spPr bwMode="gray">
          <a:xfrm rot="7379537">
            <a:off x="3738409" y="1593098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4076518" y="1663895"/>
            <a:ext cx="847797" cy="37386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päter </a:t>
            </a:r>
            <a:r>
              <a:rPr lang="de-DE" dirty="0" err="1" smtClean="0">
                <a:solidFill>
                  <a:schemeClr val="bg1"/>
                </a:solidFill>
              </a:rPr>
              <a:t>MitarbeiterID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6" name="Pfeil nach unten 15"/>
          <p:cNvSpPr/>
          <p:nvPr/>
        </p:nvSpPr>
        <p:spPr bwMode="gray">
          <a:xfrm rot="6604812">
            <a:off x="3523612" y="2532692"/>
            <a:ext cx="216024" cy="349414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832796" y="2610613"/>
            <a:ext cx="1426418" cy="32403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Übergibt die ID an die View</a:t>
            </a:r>
          </a:p>
        </p:txBody>
      </p:sp>
      <p:sp>
        <p:nvSpPr>
          <p:cNvPr id="18" name="Pfeil nach unten 17"/>
          <p:cNvSpPr/>
          <p:nvPr/>
        </p:nvSpPr>
        <p:spPr bwMode="gray">
          <a:xfrm rot="7379537">
            <a:off x="4100616" y="3321291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4425821" y="3456707"/>
            <a:ext cx="1426418" cy="36004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ädt die View als eine Partial View</a:t>
            </a:r>
          </a:p>
        </p:txBody>
      </p:sp>
    </p:spTree>
    <p:extLst>
      <p:ext uri="{BB962C8B-B14F-4D97-AF65-F5344CB8AC3E}">
        <p14:creationId xmlns:p14="http://schemas.microsoft.com/office/powerpoint/2010/main" val="263892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460" y="-22916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Aufruf anhand der internen Mitarbeiter ID des NT User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460" y="-22916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653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 Demo (Evtl.)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60" y="1114993"/>
            <a:ext cx="5400675" cy="3076333"/>
          </a:xfrm>
        </p:spPr>
      </p:pic>
    </p:spTree>
    <p:extLst>
      <p:ext uri="{BB962C8B-B14F-4D97-AF65-F5344CB8AC3E}">
        <p14:creationId xmlns:p14="http://schemas.microsoft.com/office/powerpoint/2010/main" val="47728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3246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go IT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0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al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7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rum 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Schnellere Lösungsfindu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s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ie gut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Für wen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</a:t>
            </a:r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as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359" name="Picture 23" descr="U:\Projektarbeit\Präsentation\img\UseCasePN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0" y="1020271"/>
            <a:ext cx="5802277" cy="3516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8738562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2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915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8004045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/>
                <a:gridCol w="1547367"/>
                <a:gridCol w="1350169"/>
                <a:gridCol w="1350169"/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0€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304€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04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540</Words>
  <Application>Microsoft Office PowerPoint</Application>
  <PresentationFormat>Benutzerdefiniert</PresentationFormat>
  <Paragraphs>281</Paragraphs>
  <Slides>16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BeGo_Template_D_A5</vt:lpstr>
      <vt:lpstr>think-cell Folie</vt:lpstr>
      <vt:lpstr>LSC - Live Support Chat</vt:lpstr>
      <vt:lpstr>Das Unternehmen</vt:lpstr>
      <vt:lpstr>Bego IT – der interne IT Dienstleister</vt:lpstr>
      <vt:lpstr>Projektbeschreibung</vt:lpstr>
      <vt:lpstr>Projektbeschreibung</vt:lpstr>
      <vt:lpstr>Projektziel</vt:lpstr>
      <vt:lpstr>Use Case</vt:lpstr>
      <vt:lpstr>Projektphasen</vt:lpstr>
      <vt:lpstr>Projektkosten</vt:lpstr>
      <vt:lpstr>Amortisation / Nutzen</vt:lpstr>
      <vt:lpstr>Verwendete Sprachen</vt:lpstr>
      <vt:lpstr>SignalR</vt:lpstr>
      <vt:lpstr>Aktivitätsdiagramm</vt:lpstr>
      <vt:lpstr>Laden des Modularen Chats</vt:lpstr>
      <vt:lpstr>Fazit</vt:lpstr>
      <vt:lpstr>Live Demo (Evtl.)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52</cp:revision>
  <cp:lastPrinted>2013-03-21T16:05:01Z</cp:lastPrinted>
  <dcterms:created xsi:type="dcterms:W3CDTF">2017-05-11T08:04:29Z</dcterms:created>
  <dcterms:modified xsi:type="dcterms:W3CDTF">2017-05-19T07:50:05Z</dcterms:modified>
</cp:coreProperties>
</file>